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357" r:id="rId6"/>
    <p:sldMasterId id="2147485455" r:id="rId7"/>
  </p:sldMasterIdLst>
  <p:notesMasterIdLst>
    <p:notesMasterId r:id="rId11"/>
  </p:notesMasterIdLst>
  <p:handoutMasterIdLst>
    <p:handoutMasterId r:id="rId12"/>
  </p:handoutMasterIdLst>
  <p:sldIdLst>
    <p:sldId id="2147483359" r:id="rId8"/>
    <p:sldId id="2147483356" r:id="rId9"/>
    <p:sldId id="2147483357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14C71E-72A0-2210-638F-891D79785349}" name="Rahe, Dustin E                            Collins" initials="RC" userId="S::e10670548@adxuser.com::178e0bad-618e-4865-9ccc-0d5e48a308c7" providerId="AD"/>
  <p188:author id="{68218F3C-980F-1CBC-974A-BF0E473FFA8A}" name="Twachtmann, Piper J                            Collins" initials="TC" userId="S::e10659288@adxuser.com::e1c51ab5-8482-4bb9-a93f-283cd82a3b28" providerId="AD"/>
  <p188:author id="{785D9A70-B7D6-FAE0-D6E9-9764390BC37C}" name="Shah, Tejas                            Collins" initials="SC" userId="S::e40038099@adxuser.com::e8ee4dea-0a34-43e5-a7d9-59bd4a27ac2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Avitabile" initials="AA" lastIdx="1" clrIdx="0">
    <p:extLst>
      <p:ext uri="{19B8F6BF-5375-455C-9EA6-DF929625EA0E}">
        <p15:presenceInfo xmlns:p15="http://schemas.microsoft.com/office/powerpoint/2012/main" userId="S-1-5-21-1214440339-861567501-682003330-1365948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AE29"/>
    <a:srgbClr val="CE1126"/>
    <a:srgbClr val="F2F2F2"/>
    <a:srgbClr val="63666A"/>
    <a:srgbClr val="BFC1C2"/>
    <a:srgbClr val="B1B3B3"/>
    <a:srgbClr val="DFE0E0"/>
    <a:srgbClr val="D9D9D6"/>
    <a:srgbClr val="9ABEAA"/>
    <a:srgbClr val="908C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8A3D3A-1175-4AAE-941E-A7F7470734F7}" v="6" dt="2025-02-27T17:21:14.633"/>
  </p1510:revLst>
</p1510:revInfo>
</file>

<file path=ppt/tableStyles.xml><?xml version="1.0" encoding="utf-8"?>
<a:tblStyleLst xmlns:a="http://schemas.openxmlformats.org/drawingml/2006/main" def="{3B4B98B0-60AC-42C2-AFA5-B58CD77FA1E5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68" autoAdjust="0"/>
    <p:restoredTop sz="94661"/>
  </p:normalViewPr>
  <p:slideViewPr>
    <p:cSldViewPr snapToGrid="0">
      <p:cViewPr varScale="1">
        <p:scale>
          <a:sx n="114" d="100"/>
          <a:sy n="114" d="100"/>
        </p:scale>
        <p:origin x="1136" y="168"/>
      </p:cViewPr>
      <p:guideLst>
        <p:guide orient="horz" pos="408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dwlas, Vad (USA)" userId="b4e1c238-4794-4174-b02f-ac63ff191b76" providerId="ADAL" clId="{6A8A3D3A-1175-4AAE-941E-A7F7470734F7}"/>
    <pc:docChg chg="undo custSel addSld delSld modSld">
      <pc:chgData name="Vadwlas, Vad (USA)" userId="b4e1c238-4794-4174-b02f-ac63ff191b76" providerId="ADAL" clId="{6A8A3D3A-1175-4AAE-941E-A7F7470734F7}" dt="2025-02-27T17:42:13.380" v="216" actId="14100"/>
      <pc:docMkLst>
        <pc:docMk/>
      </pc:docMkLst>
      <pc:sldChg chg="addSp delSp modSp mod">
        <pc:chgData name="Vadwlas, Vad (USA)" userId="b4e1c238-4794-4174-b02f-ac63ff191b76" providerId="ADAL" clId="{6A8A3D3A-1175-4AAE-941E-A7F7470734F7}" dt="2025-02-27T17:16:39.802" v="99" actId="20577"/>
        <pc:sldMkLst>
          <pc:docMk/>
          <pc:sldMk cId="4267748267" sldId="2147483356"/>
        </pc:sldMkLst>
        <pc:spChg chg="add">
          <ac:chgData name="Vadwlas, Vad (USA)" userId="b4e1c238-4794-4174-b02f-ac63ff191b76" providerId="ADAL" clId="{6A8A3D3A-1175-4AAE-941E-A7F7470734F7}" dt="2025-02-27T16:50:11.426" v="7"/>
          <ac:spMkLst>
            <pc:docMk/>
            <pc:sldMk cId="4267748267" sldId="2147483356"/>
            <ac:spMk id="4" creationId="{0B9056F1-D891-6AC6-0361-D0064A5766A0}"/>
          </ac:spMkLst>
        </pc:spChg>
        <pc:spChg chg="del mod">
          <ac:chgData name="Vadwlas, Vad (USA)" userId="b4e1c238-4794-4174-b02f-ac63ff191b76" providerId="ADAL" clId="{6A8A3D3A-1175-4AAE-941E-A7F7470734F7}" dt="2025-02-27T16:49:42.915" v="2" actId="478"/>
          <ac:spMkLst>
            <pc:docMk/>
            <pc:sldMk cId="4267748267" sldId="2147483356"/>
            <ac:spMk id="5" creationId="{2526C460-AF23-1BD9-A2E6-915053C3B224}"/>
          </ac:spMkLst>
        </pc:spChg>
        <pc:spChg chg="del">
          <ac:chgData name="Vadwlas, Vad (USA)" userId="b4e1c238-4794-4174-b02f-ac63ff191b76" providerId="ADAL" clId="{6A8A3D3A-1175-4AAE-941E-A7F7470734F7}" dt="2025-02-27T16:49:47.851" v="5" actId="478"/>
          <ac:spMkLst>
            <pc:docMk/>
            <pc:sldMk cId="4267748267" sldId="2147483356"/>
            <ac:spMk id="7" creationId="{59BFF108-D78A-E8A7-D017-80A957DFCB0A}"/>
          </ac:spMkLst>
        </pc:spChg>
        <pc:spChg chg="add del mod">
          <ac:chgData name="Vadwlas, Vad (USA)" userId="b4e1c238-4794-4174-b02f-ac63ff191b76" providerId="ADAL" clId="{6A8A3D3A-1175-4AAE-941E-A7F7470734F7}" dt="2025-02-27T16:51:39.540" v="18" actId="478"/>
          <ac:spMkLst>
            <pc:docMk/>
            <pc:sldMk cId="4267748267" sldId="2147483356"/>
            <ac:spMk id="11" creationId="{5784E492-E900-DBFE-BDE4-085697081BE2}"/>
          </ac:spMkLst>
        </pc:spChg>
        <pc:spChg chg="add mod">
          <ac:chgData name="Vadwlas, Vad (USA)" userId="b4e1c238-4794-4174-b02f-ac63ff191b76" providerId="ADAL" clId="{6A8A3D3A-1175-4AAE-941E-A7F7470734F7}" dt="2025-02-27T17:16:39.802" v="99" actId="20577"/>
          <ac:spMkLst>
            <pc:docMk/>
            <pc:sldMk cId="4267748267" sldId="2147483356"/>
            <ac:spMk id="14" creationId="{DE43951B-DB22-2A44-D680-0F737F5608D8}"/>
          </ac:spMkLst>
        </pc:spChg>
        <pc:spChg chg="del">
          <ac:chgData name="Vadwlas, Vad (USA)" userId="b4e1c238-4794-4174-b02f-ac63ff191b76" providerId="ADAL" clId="{6A8A3D3A-1175-4AAE-941E-A7F7470734F7}" dt="2025-02-27T16:49:49.852" v="6" actId="478"/>
          <ac:spMkLst>
            <pc:docMk/>
            <pc:sldMk cId="4267748267" sldId="2147483356"/>
            <ac:spMk id="30" creationId="{A1B9A538-AB88-DA32-CAD8-E3ADF510580C}"/>
          </ac:spMkLst>
        </pc:spChg>
        <pc:graphicFrameChg chg="del">
          <ac:chgData name="Vadwlas, Vad (USA)" userId="b4e1c238-4794-4174-b02f-ac63ff191b76" providerId="ADAL" clId="{6A8A3D3A-1175-4AAE-941E-A7F7470734F7}" dt="2025-02-27T16:49:37.575" v="0" actId="478"/>
          <ac:graphicFrameMkLst>
            <pc:docMk/>
            <pc:sldMk cId="4267748267" sldId="2147483356"/>
            <ac:graphicFrameMk id="38" creationId="{7D6E9C2E-F060-D7C5-E094-8D3A3EB9A2F1}"/>
          </ac:graphicFrameMkLst>
        </pc:graphicFrameChg>
        <pc:picChg chg="add del mod">
          <ac:chgData name="Vadwlas, Vad (USA)" userId="b4e1c238-4794-4174-b02f-ac63ff191b76" providerId="ADAL" clId="{6A8A3D3A-1175-4AAE-941E-A7F7470734F7}" dt="2025-02-27T16:51:14.819" v="11" actId="478"/>
          <ac:picMkLst>
            <pc:docMk/>
            <pc:sldMk cId="4267748267" sldId="2147483356"/>
            <ac:picMk id="8" creationId="{F7015C45-C528-6640-4F42-5222D05E98E8}"/>
          </ac:picMkLst>
        </pc:picChg>
        <pc:picChg chg="add mod">
          <ac:chgData name="Vadwlas, Vad (USA)" userId="b4e1c238-4794-4174-b02f-ac63ff191b76" providerId="ADAL" clId="{6A8A3D3A-1175-4AAE-941E-A7F7470734F7}" dt="2025-02-27T16:51:23.555" v="14" actId="1076"/>
          <ac:picMkLst>
            <pc:docMk/>
            <pc:sldMk cId="4267748267" sldId="2147483356"/>
            <ac:picMk id="10" creationId="{8C275805-BE6A-8C49-CBF9-FD4631A6ACC2}"/>
          </ac:picMkLst>
        </pc:picChg>
        <pc:picChg chg="add del">
          <ac:chgData name="Vadwlas, Vad (USA)" userId="b4e1c238-4794-4174-b02f-ac63ff191b76" providerId="ADAL" clId="{6A8A3D3A-1175-4AAE-941E-A7F7470734F7}" dt="2025-02-27T16:51:59.384" v="20" actId="22"/>
          <ac:picMkLst>
            <pc:docMk/>
            <pc:sldMk cId="4267748267" sldId="2147483356"/>
            <ac:picMk id="13" creationId="{81444FB8-4E3A-B061-8942-4425DEA5EAEC}"/>
          </ac:picMkLst>
        </pc:picChg>
        <pc:cxnChg chg="del mod">
          <ac:chgData name="Vadwlas, Vad (USA)" userId="b4e1c238-4794-4174-b02f-ac63ff191b76" providerId="ADAL" clId="{6A8A3D3A-1175-4AAE-941E-A7F7470734F7}" dt="2025-02-27T16:49:44.275" v="3" actId="478"/>
          <ac:cxnSpMkLst>
            <pc:docMk/>
            <pc:sldMk cId="4267748267" sldId="2147483356"/>
            <ac:cxnSpMk id="23" creationId="{A574BB80-C580-E123-BDAE-9EA420187BFB}"/>
          </ac:cxnSpMkLst>
        </pc:cxnChg>
        <pc:cxnChg chg="del mod">
          <ac:chgData name="Vadwlas, Vad (USA)" userId="b4e1c238-4794-4174-b02f-ac63ff191b76" providerId="ADAL" clId="{6A8A3D3A-1175-4AAE-941E-A7F7470734F7}" dt="2025-02-27T16:49:45.492" v="4" actId="478"/>
          <ac:cxnSpMkLst>
            <pc:docMk/>
            <pc:sldMk cId="4267748267" sldId="2147483356"/>
            <ac:cxnSpMk id="29" creationId="{F8FA3215-D022-987F-B565-5081A5A1E25D}"/>
          </ac:cxnSpMkLst>
        </pc:cxnChg>
      </pc:sldChg>
      <pc:sldChg chg="addSp delSp modSp add mod">
        <pc:chgData name="Vadwlas, Vad (USA)" userId="b4e1c238-4794-4174-b02f-ac63ff191b76" providerId="ADAL" clId="{6A8A3D3A-1175-4AAE-941E-A7F7470734F7}" dt="2025-02-27T17:42:13.380" v="216" actId="14100"/>
        <pc:sldMkLst>
          <pc:docMk/>
          <pc:sldMk cId="2655646355" sldId="2147483357"/>
        </pc:sldMkLst>
        <pc:spChg chg="add mod">
          <ac:chgData name="Vadwlas, Vad (USA)" userId="b4e1c238-4794-4174-b02f-ac63ff191b76" providerId="ADAL" clId="{6A8A3D3A-1175-4AAE-941E-A7F7470734F7}" dt="2025-02-27T17:21:21.805" v="198" actId="21"/>
          <ac:spMkLst>
            <pc:docMk/>
            <pc:sldMk cId="2655646355" sldId="2147483357"/>
            <ac:spMk id="6" creationId="{DE43951B-DB22-2A44-D680-0F737F5608D8}"/>
          </ac:spMkLst>
        </pc:spChg>
        <pc:spChg chg="mod">
          <ac:chgData name="Vadwlas, Vad (USA)" userId="b4e1c238-4794-4174-b02f-ac63ff191b76" providerId="ADAL" clId="{6A8A3D3A-1175-4AAE-941E-A7F7470734F7}" dt="2025-02-27T17:21:14.633" v="196"/>
          <ac:spMkLst>
            <pc:docMk/>
            <pc:sldMk cId="2655646355" sldId="2147483357"/>
            <ac:spMk id="8" creationId="{3A46CDB7-D970-EA8D-CD37-A5CECF900B07}"/>
          </ac:spMkLst>
        </pc:spChg>
        <pc:spChg chg="mod">
          <ac:chgData name="Vadwlas, Vad (USA)" userId="b4e1c238-4794-4174-b02f-ac63ff191b76" providerId="ADAL" clId="{6A8A3D3A-1175-4AAE-941E-A7F7470734F7}" dt="2025-02-27T17:42:13.380" v="216" actId="14100"/>
          <ac:spMkLst>
            <pc:docMk/>
            <pc:sldMk cId="2655646355" sldId="2147483357"/>
            <ac:spMk id="9" creationId="{402BB925-E06F-49BF-0087-C1C2C40F0060}"/>
          </ac:spMkLst>
        </pc:spChg>
        <pc:spChg chg="mod">
          <ac:chgData name="Vadwlas, Vad (USA)" userId="b4e1c238-4794-4174-b02f-ac63ff191b76" providerId="ADAL" clId="{6A8A3D3A-1175-4AAE-941E-A7F7470734F7}" dt="2025-02-27T17:42:10.021" v="215" actId="14100"/>
          <ac:spMkLst>
            <pc:docMk/>
            <pc:sldMk cId="2655646355" sldId="2147483357"/>
            <ac:spMk id="12" creationId="{818F69B7-C4C7-318F-AD66-8BFD019C2D6F}"/>
          </ac:spMkLst>
        </pc:spChg>
        <pc:grpChg chg="add mod">
          <ac:chgData name="Vadwlas, Vad (USA)" userId="b4e1c238-4794-4174-b02f-ac63ff191b76" providerId="ADAL" clId="{6A8A3D3A-1175-4AAE-941E-A7F7470734F7}" dt="2025-02-27T17:22:30.820" v="211" actId="14100"/>
          <ac:grpSpMkLst>
            <pc:docMk/>
            <pc:sldMk cId="2655646355" sldId="2147483357"/>
            <ac:grpSpMk id="7" creationId="{E6D104D2-3CE3-8B97-9CF7-DE1875353865}"/>
          </ac:grpSpMkLst>
        </pc:grpChg>
        <pc:picChg chg="add mod">
          <ac:chgData name="Vadwlas, Vad (USA)" userId="b4e1c238-4794-4174-b02f-ac63ff191b76" providerId="ADAL" clId="{6A8A3D3A-1175-4AAE-941E-A7F7470734F7}" dt="2025-02-27T17:17:18.062" v="104" actId="1076"/>
          <ac:picMkLst>
            <pc:docMk/>
            <pc:sldMk cId="2655646355" sldId="2147483357"/>
            <ac:picMk id="5" creationId="{54FD0CC9-6894-6CCF-2182-1771669D9DF5}"/>
          </ac:picMkLst>
        </pc:picChg>
        <pc:picChg chg="del">
          <ac:chgData name="Vadwlas, Vad (USA)" userId="b4e1c238-4794-4174-b02f-ac63ff191b76" providerId="ADAL" clId="{6A8A3D3A-1175-4AAE-941E-A7F7470734F7}" dt="2025-02-27T17:17:09.301" v="100" actId="478"/>
          <ac:picMkLst>
            <pc:docMk/>
            <pc:sldMk cId="2655646355" sldId="2147483357"/>
            <ac:picMk id="10" creationId="{13C6605D-FB8F-5BC1-2708-475F12D80F44}"/>
          </ac:picMkLst>
        </pc:picChg>
        <pc:picChg chg="mod">
          <ac:chgData name="Vadwlas, Vad (USA)" userId="b4e1c238-4794-4174-b02f-ac63ff191b76" providerId="ADAL" clId="{6A8A3D3A-1175-4AAE-941E-A7F7470734F7}" dt="2025-02-27T17:21:14.633" v="196"/>
          <ac:picMkLst>
            <pc:docMk/>
            <pc:sldMk cId="2655646355" sldId="2147483357"/>
            <ac:picMk id="11" creationId="{8E468A2E-FFD8-925D-4A4A-A3926039908A}"/>
          </ac:picMkLst>
        </pc:picChg>
      </pc:sldChg>
      <pc:sldChg chg="add del">
        <pc:chgData name="Vadwlas, Vad (USA)" userId="b4e1c238-4794-4174-b02f-ac63ff191b76" providerId="ADAL" clId="{6A8A3D3A-1175-4AAE-941E-A7F7470734F7}" dt="2025-02-27T16:51:30.028" v="16" actId="2696"/>
        <pc:sldMkLst>
          <pc:docMk/>
          <pc:sldMk cId="2868172611" sldId="214748335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2"/>
          </p:nvPr>
        </p:nvSpPr>
        <p:spPr>
          <a:xfrm>
            <a:off x="0" y="9002622"/>
            <a:ext cx="7010400" cy="281616"/>
          </a:xfrm>
          <a:prstGeom prst="rect">
            <a:avLst/>
          </a:prstGeom>
        </p:spPr>
        <p:txBody>
          <a:bodyPr vert="horz" lIns="93177" tIns="46589" rIns="93177" bIns="46589" rtlCol="0" anchor="b">
            <a:spAutoFit/>
          </a:bodyPr>
          <a:lstStyle>
            <a:lvl1pPr algn="l">
              <a:defRPr sz="1200"/>
            </a:lvl1pPr>
          </a:lstStyle>
          <a:p>
            <a:pPr algn="ctr"/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3"/>
          </p:nvPr>
        </p:nvSpPr>
        <p:spPr>
          <a:xfrm>
            <a:off x="3972560" y="1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38C58B0-FFE9-437E-B2CB-216DAFA841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966732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294" userDrawn="1">
          <p15:clr>
            <a:srgbClr val="F26B43"/>
          </p15:clr>
        </p15:guide>
        <p15:guide id="3" pos="4122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04850"/>
            <a:ext cx="5608638" cy="31543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079432"/>
            <a:ext cx="5647267" cy="4162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4"/>
          </p:nvPr>
        </p:nvSpPr>
        <p:spPr>
          <a:xfrm>
            <a:off x="0" y="8920912"/>
            <a:ext cx="7010400" cy="375488"/>
          </a:xfrm>
          <a:prstGeom prst="rect">
            <a:avLst/>
          </a:prstGeom>
        </p:spPr>
        <p:txBody>
          <a:bodyPr vert="horz" lIns="93177" tIns="46589" rIns="93177" bIns="46589" rtlCol="0" anchor="b">
            <a:spAutoFit/>
          </a:bodyPr>
          <a:lstStyle>
            <a:lvl1pPr algn="ctr">
              <a:defRPr lang="en-US"/>
            </a:lvl1pPr>
          </a:lstStyle>
          <a:p>
            <a:endParaRPr lang="en-US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5"/>
          </p:nvPr>
        </p:nvSpPr>
        <p:spPr>
          <a:xfrm>
            <a:off x="3972560" y="933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6AF3A09-0EB5-429E-B7D0-FB28A7726D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21913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5888" indent="-115888" algn="l" defTabSz="914400" rtl="0" eaLnBrk="1" latinLnBrk="0" hangingPunct="1">
      <a:spcBef>
        <a:spcPts val="200"/>
      </a:spcBef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287338" indent="-117475" algn="l" defTabSz="914400" rtl="0" eaLnBrk="1" latinLnBrk="0" hangingPunct="1">
      <a:spcBef>
        <a:spcPts val="2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57200" indent="-115888" algn="l" defTabSz="914400" rtl="0" eaLnBrk="1" latinLnBrk="0" hangingPunct="1">
      <a:spcBef>
        <a:spcPts val="200"/>
      </a:spcBef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indent="-115888" algn="l" defTabSz="914400" rtl="0" eaLnBrk="1" latinLnBrk="0" hangingPunct="1">
      <a:spcBef>
        <a:spcPts val="2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60425" indent="-171450" algn="l" defTabSz="914400" rtl="0" eaLnBrk="1" latinLnBrk="0" hangingPunct="1">
      <a:spcBef>
        <a:spcPts val="200"/>
      </a:spcBef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42" userDrawn="1">
          <p15:clr>
            <a:srgbClr val="F26B43"/>
          </p15:clr>
        </p15:guide>
        <p15:guide id="2" pos="399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F0023-0394-7FD5-6F93-0C40043F2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78DB3D-49F0-9502-DE39-0B3E0ABF44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22313" y="703263"/>
            <a:ext cx="5611812" cy="31559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E03481-1ACB-95A4-4292-E378FC864C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lip Data Ecosystem and AI Foundation</a:t>
            </a:r>
          </a:p>
          <a:p>
            <a:r>
              <a:rPr lang="en-US" dirty="0"/>
              <a:t>Add Operating Mod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375E76-48D2-0479-DD18-03F5199830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535AAC-C581-7BFC-FA3D-9D4BD7761F9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F3A09-0EB5-429E-B7D0-FB28A7726D2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521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CFB870-FE22-2C5E-E641-B2BE04184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26B5AF-9ED7-FBF9-8892-CC2E11AE35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22313" y="703263"/>
            <a:ext cx="5611812" cy="315595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AFCC13-7EE3-5E13-B1F8-A7417A14DE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lip Data Ecosystem and AI Foundation</a:t>
            </a:r>
          </a:p>
          <a:p>
            <a:r>
              <a:rPr lang="en-US"/>
              <a:t>Add Operating Mod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8D2547-EA83-9D8F-29F1-6FD50A43EE7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0B5A30-1AC3-FB67-01AA-B837035840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AF3A09-0EB5-429E-B7D0-FB28A7726D2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19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lins Content: 1 column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>
            <a:spLocks noGrp="1"/>
          </p:cNvSpPr>
          <p:nvPr>
            <p:ph type="sldNum" sz="quarter" idx="4"/>
          </p:nvPr>
        </p:nvSpPr>
        <p:spPr>
          <a:xfrm>
            <a:off x="10983397" y="6380414"/>
            <a:ext cx="531946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7165E6F-54ED-4977-A15E-D44BE7238A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37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72C379-9A7C-4C87-A116-CBE9F58B04C5}" type="datetimeFigureOut">
              <a:rPr lang="en-US" smtClean="0"/>
              <a:t>6/22/25</a:t>
            </a:fld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58470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57CC2-0FC8-4686-B024-99790E0F5162}" type="datetimeFigureOut">
              <a:rPr lang="en-US" smtClean="0"/>
              <a:t>6/2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50854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64DA5-CD3D-4590-A511-FCD3BC7A793E}" type="datetimeFigureOut">
              <a:rPr lang="en-US" smtClean="0"/>
              <a:t>6/2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716902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lins Content: 1 column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>
            <a:spLocks noGrp="1"/>
          </p:cNvSpPr>
          <p:nvPr>
            <p:ph type="sldNum" sz="quarter" idx="4"/>
          </p:nvPr>
        </p:nvSpPr>
        <p:spPr>
          <a:xfrm>
            <a:off x="10983397" y="6380414"/>
            <a:ext cx="531946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07165E6F-54ED-4977-A15E-D44BE7238A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045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84890-85D2-4D7B-8EF5-15A9C1DB8F42}" type="datetimeFigureOut">
              <a:rPr lang="en-US" smtClean="0"/>
              <a:t>6/2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90460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5661D-6934-4B32-B92C-470368BF1EC6}" type="datetimeFigureOut">
              <a:rPr lang="en-US" smtClean="0"/>
              <a:t>6/2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208072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C6F822A4-8DA6-4447-9B1F-C5DB58435268}" type="datetimeFigureOut">
              <a:rPr lang="en-US" smtClean="0"/>
              <a:t>6/2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728913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8D31E-DCDA-41A7-9C67-C4B11B94D21D}" type="datetimeFigureOut">
              <a:rPr lang="en-US" smtClean="0"/>
              <a:t>6/2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390336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smtClean="0"/>
              <a:t>6/22/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9464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19A6-33EB-49BD-A62F-1FA56B9F9712}" type="datetimeFigureOut">
              <a:rPr lang="en-US" smtClean="0"/>
              <a:t>6/22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569004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E7D1B-D673-4CF6-8672-009D42ABD2A0}" type="datetimeFigureOut">
              <a:rPr lang="en-US" smtClean="0"/>
              <a:t>6/22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63881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6AA21-1863-4931-97CB-99D0A168701B}" type="datetimeFigureOut">
              <a:rPr lang="en-US" smtClean="0"/>
              <a:t>6/22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43917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3E2BC5-333E-A582-FC4D-2141DDAA1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996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3E2BC5-333E-A582-FC4D-2141DDAA1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13207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9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6063" indent="-246063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14325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74750" indent="-24765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74813" indent="-31750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105025" indent="-24765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orient="horz" pos="2160">
          <p15:clr>
            <a:srgbClr val="A4A3A4"/>
          </p15:clr>
        </p15:guide>
        <p15:guide id="15" pos="3840">
          <p15:clr>
            <a:srgbClr val="A4A3A4"/>
          </p15:clr>
        </p15:guide>
        <p15:guide id="16" orient="horz" pos="228">
          <p15:clr>
            <a:srgbClr val="5ACBF0"/>
          </p15:clr>
        </p15:guide>
        <p15:guide id="17" orient="horz" pos="537">
          <p15:clr>
            <a:srgbClr val="FDE53C"/>
          </p15:clr>
        </p15:guide>
        <p15:guide id="18" orient="horz" pos="848">
          <p15:clr>
            <a:srgbClr val="FDE53C"/>
          </p15:clr>
        </p15:guide>
        <p15:guide id="19" orient="horz" pos="960">
          <p15:clr>
            <a:srgbClr val="5ACBF0"/>
          </p15:clr>
        </p15:guide>
        <p15:guide id="20" orient="horz" pos="3773">
          <p15:clr>
            <a:srgbClr val="FBAE40"/>
          </p15:clr>
        </p15:guide>
        <p15:guide id="21" orient="horz" pos="4001">
          <p15:clr>
            <a:srgbClr val="5ACBF0"/>
          </p15:clr>
        </p15:guide>
        <p15:guide id="22" orient="horz" pos="4113">
          <p15:clr>
            <a:srgbClr val="5ACBF0"/>
          </p15:clr>
        </p15:guide>
        <p15:guide id="23" pos="288">
          <p15:clr>
            <a:srgbClr val="5ACBF0"/>
          </p15:clr>
        </p15:guide>
        <p15:guide id="24" pos="3756">
          <p15:clr>
            <a:srgbClr val="5ACBF0"/>
          </p15:clr>
        </p15:guide>
        <p15:guide id="25" pos="3927">
          <p15:clr>
            <a:srgbClr val="5ACBF0"/>
          </p15:clr>
        </p15:guide>
        <p15:guide id="26" pos="7394">
          <p15:clr>
            <a:srgbClr val="5ACBF0"/>
          </p15:clr>
        </p15:guide>
        <p15:guide id="27" orient="horz" pos="3969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8664C608-40B1-4030-A28D-5B74BC98ADCE}" type="datetimeFigureOut">
              <a:rPr lang="en-US" smtClean="0"/>
              <a:t>6/22/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ckwell Extra Bold" pitchFamily="18" charset="0"/>
                <a:ea typeface="+mn-ea"/>
                <a:cs typeface="+mn-cs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0323C0-0B24-AAB1-9ECC-0E305D3A8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89969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E2CD10-A505-4173-AFBC-3817277BC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8107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6" r:id="rId1"/>
    <p:sldLayoutId id="2147485457" r:id="rId2"/>
    <p:sldLayoutId id="2147485458" r:id="rId3"/>
    <p:sldLayoutId id="2147485459" r:id="rId4"/>
    <p:sldLayoutId id="2147485460" r:id="rId5"/>
    <p:sldLayoutId id="2147485461" r:id="rId6"/>
    <p:sldLayoutId id="2147485462" r:id="rId7"/>
    <p:sldLayoutId id="2147485463" r:id="rId8"/>
    <p:sldLayoutId id="2147485464" r:id="rId9"/>
    <p:sldLayoutId id="2147485465" r:id="rId10"/>
    <p:sldLayoutId id="2147485466" r:id="rId11"/>
    <p:sldLayoutId id="2147485467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81246A-BA1A-BBD1-CA35-35AC86B98D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165E6F-54ED-4977-A15E-D44BE7238A6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3F436B6-BE96-1E99-3C07-EB68BFDCC6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81125" y="514350"/>
            <a:ext cx="10810875" cy="67627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latin typeface="Arial"/>
                <a:cs typeface="Arial"/>
              </a:rPr>
              <a:t>AI Agents Architecture</a:t>
            </a:r>
            <a:endParaRPr lang="en-US" dirty="0"/>
          </a:p>
        </p:txBody>
      </p:sp>
      <p:pic>
        <p:nvPicPr>
          <p:cNvPr id="8" name="Picture 2" descr="How To Use Intelligent Automation For Revenue Generation">
            <a:extLst>
              <a:ext uri="{FF2B5EF4-FFF2-40B4-BE49-F238E27FC236}">
                <a16:creationId xmlns:a16="http://schemas.microsoft.com/office/drawing/2014/main" id="{5637A22C-3045-DD82-4D69-A4BA3BCC9B70}"/>
              </a:ext>
            </a:extLst>
          </p:cNvPr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95875" y="2008188"/>
            <a:ext cx="7096125" cy="378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208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0C827C-3E44-D9E5-BD38-F7587E5F0D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779A39-9010-0959-A39B-18514ED145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165E6F-54ED-4977-A15E-D44BE7238A65}" type="slidenum">
              <a:rPr lang="en-US" dirty="0" smtClean="0"/>
              <a:pPr/>
              <a:t>2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C275805-BE6A-8C49-CBF9-FD4631A6AC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528" y="1187275"/>
            <a:ext cx="7340107" cy="392123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E43951B-DB22-2A44-D680-0F737F5608D8}"/>
              </a:ext>
            </a:extLst>
          </p:cNvPr>
          <p:cNvSpPr txBox="1"/>
          <p:nvPr/>
        </p:nvSpPr>
        <p:spPr>
          <a:xfrm>
            <a:off x="7864979" y="812140"/>
            <a:ext cx="3799885" cy="118494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Arial"/>
                <a:cs typeface="Arial"/>
              </a:rPr>
              <a:t>The basic building block of agentic systems shall be LLM’s enhanced with augmentations such as retrieval, tools, and memor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Arial"/>
                <a:cs typeface="Arial"/>
              </a:rPr>
              <a:t>The current models shall actively use capabilities like generating their own search queries, selecting appropriate tools, and determining what information to retain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7748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BFD4B1-4D0E-D53B-0557-C62A40459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F8E6F4-3F8E-C89F-DD37-597BC8DC7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165E6F-54ED-4977-A15E-D44BE7238A65}" type="slidenum">
              <a:rPr lang="en-US" dirty="0" smtClean="0"/>
              <a:pPr/>
              <a:t>3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24C660-B846-8484-F09D-121397B89C94}"/>
              </a:ext>
            </a:extLst>
          </p:cNvPr>
          <p:cNvSpPr txBox="1"/>
          <p:nvPr/>
        </p:nvSpPr>
        <p:spPr>
          <a:xfrm>
            <a:off x="7864979" y="812140"/>
            <a:ext cx="3799885" cy="4770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Arial"/>
                <a:cs typeface="Arial"/>
              </a:rPr>
              <a:t>Test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FD0CC9-6894-6CCF-2182-1771669D9D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61" y="731902"/>
            <a:ext cx="8644813" cy="2071568"/>
          </a:xfrm>
          <a:prstGeom prst="rect">
            <a:avLst/>
          </a:prstGeom>
        </p:spPr>
      </p:pic>
      <p:sp>
        <p:nvSpPr>
          <p:cNvPr id="6" name="TextBox 13">
            <a:extLst>
              <a:ext uri="{FF2B5EF4-FFF2-40B4-BE49-F238E27FC236}">
                <a16:creationId xmlns:a16="http://schemas.microsoft.com/office/drawing/2014/main" id="{DE43951B-DB22-2A44-D680-0F737F5608D8}"/>
              </a:ext>
            </a:extLst>
          </p:cNvPr>
          <p:cNvSpPr txBox="1"/>
          <p:nvPr/>
        </p:nvSpPr>
        <p:spPr>
          <a:xfrm>
            <a:off x="8836090" y="1419382"/>
            <a:ext cx="3298371" cy="13080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Arial"/>
                <a:cs typeface="Arial"/>
              </a:rPr>
              <a:t>Prompt Chaining Workflow model shall  be used in situations where the task can be easily and cleanly decomposed into fixed subtask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900" dirty="0">
                <a:solidFill>
                  <a:srgbClr val="000000"/>
                </a:solidFill>
                <a:latin typeface="Arial"/>
                <a:cs typeface="Arial"/>
              </a:rPr>
              <a:t>The main goal is to trade off latency for higher accuracy, by making each LLM call an easier task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8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6D104D2-3CE3-8B97-9CF7-DE1875353865}"/>
              </a:ext>
            </a:extLst>
          </p:cNvPr>
          <p:cNvGrpSpPr/>
          <p:nvPr/>
        </p:nvGrpSpPr>
        <p:grpSpPr>
          <a:xfrm>
            <a:off x="8756779" y="2803470"/>
            <a:ext cx="3298371" cy="1308050"/>
            <a:chOff x="5589873" y="4164774"/>
            <a:chExt cx="3351062" cy="556200"/>
          </a:xfrm>
        </p:grpSpPr>
        <p:sp>
          <p:nvSpPr>
            <p:cNvPr id="8" name="Google Shape;1625;p185">
              <a:extLst>
                <a:ext uri="{FF2B5EF4-FFF2-40B4-BE49-F238E27FC236}">
                  <a16:creationId xmlns:a16="http://schemas.microsoft.com/office/drawing/2014/main" id="{3A46CDB7-D970-EA8D-CD37-A5CECF900B07}"/>
                </a:ext>
              </a:extLst>
            </p:cNvPr>
            <p:cNvSpPr txBox="1"/>
            <p:nvPr/>
          </p:nvSpPr>
          <p:spPr>
            <a:xfrm>
              <a:off x="5590611" y="4164774"/>
              <a:ext cx="3350324" cy="556200"/>
            </a:xfrm>
            <a:prstGeom prst="rect">
              <a:avLst/>
            </a:prstGeom>
            <a:solidFill>
              <a:srgbClr val="F8F8F8"/>
            </a:solidFill>
            <a:ln w="9525" cap="flat" cmpd="sng">
              <a:solidFill>
                <a:srgbClr val="0B539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7140" tIns="77140" rIns="77140" bIns="77140" anchor="ctr" anchorCtr="0">
              <a:noAutofit/>
            </a:bodyPr>
            <a:lstStyle/>
            <a:p>
              <a:pPr marL="385785"/>
              <a:endParaRPr sz="67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Google Shape;1626;p185">
              <a:extLst>
                <a:ext uri="{FF2B5EF4-FFF2-40B4-BE49-F238E27FC236}">
                  <a16:creationId xmlns:a16="http://schemas.microsoft.com/office/drawing/2014/main" id="{402BB925-E06F-49BF-0087-C1C2C40F0060}"/>
                </a:ext>
              </a:extLst>
            </p:cNvPr>
            <p:cNvSpPr/>
            <p:nvPr/>
          </p:nvSpPr>
          <p:spPr>
            <a:xfrm>
              <a:off x="5589873" y="4164774"/>
              <a:ext cx="644618" cy="556200"/>
            </a:xfrm>
            <a:prstGeom prst="homePlate">
              <a:avLst>
                <a:gd name="adj" fmla="val 50000"/>
              </a:avLst>
            </a:prstGeom>
            <a:solidFill>
              <a:srgbClr val="CFE2F3"/>
            </a:solidFill>
            <a:ln w="9525" cap="flat" cmpd="sng">
              <a:solidFill>
                <a:srgbClr val="0B5394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7140" tIns="77140" rIns="77140" bIns="77140" anchor="ctr" anchorCtr="0">
              <a:noAutofit/>
            </a:bodyPr>
            <a:lstStyle/>
            <a:p>
              <a:endParaRPr sz="1519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1" name="Google Shape;1627;p185" descr="File:Info i blue.svg - Wikimedia Commons">
              <a:extLst>
                <a:ext uri="{FF2B5EF4-FFF2-40B4-BE49-F238E27FC236}">
                  <a16:creationId xmlns:a16="http://schemas.microsoft.com/office/drawing/2014/main" id="{8E468A2E-FFD8-925D-4A4A-A3926039908A}"/>
                </a:ext>
              </a:extLst>
            </p:cNvPr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5634540" y="4311212"/>
              <a:ext cx="251555" cy="2633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" name="Google Shape;1628;p185">
              <a:extLst>
                <a:ext uri="{FF2B5EF4-FFF2-40B4-BE49-F238E27FC236}">
                  <a16:creationId xmlns:a16="http://schemas.microsoft.com/office/drawing/2014/main" id="{818F69B7-C4C7-318F-AD66-8BFD019C2D6F}"/>
                </a:ext>
              </a:extLst>
            </p:cNvPr>
            <p:cNvSpPr txBox="1"/>
            <p:nvPr/>
          </p:nvSpPr>
          <p:spPr>
            <a:xfrm>
              <a:off x="6166003" y="4235311"/>
              <a:ext cx="2774930" cy="4016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7140" tIns="77140" rIns="77140" bIns="77140" anchor="ctr" anchorCtr="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Examples where prompt chaining is useful:</a:t>
              </a:r>
            </a:p>
            <a:p>
              <a:pPr>
                <a:lnSpc>
                  <a:spcPct val="115000"/>
                </a:lnSpc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  <a:p>
              <a:pPr marL="171450" indent="-171450">
                <a:lnSpc>
                  <a:spcPct val="115000"/>
                </a:lnSpc>
                <a:buFont typeface="Wingdings" panose="05000000000000000000" pitchFamily="2" charset="2"/>
                <a:buChar char="Ø"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Generating Marketing copy, then translating it into a different language.</a:t>
              </a:r>
            </a:p>
            <a:p>
              <a:pPr marL="171450" indent="-171450">
                <a:lnSpc>
                  <a:spcPct val="115000"/>
                </a:lnSpc>
                <a:buFont typeface="Wingdings" panose="05000000000000000000" pitchFamily="2" charset="2"/>
                <a:buChar char="Ø"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Writing an outline of a document, checking that the outline meets certain criteria, then writing the document based on the outline.</a:t>
              </a:r>
              <a:endParaRPr lang="en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5646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White bkgrnd master">
  <a:themeElements>
    <a:clrScheme name="2020 Gartner Theme-003">
      <a:dk1>
        <a:sysClr val="windowText" lastClr="000000"/>
      </a:dk1>
      <a:lt1>
        <a:sysClr val="window" lastClr="FFFFFF"/>
      </a:lt1>
      <a:dk2>
        <a:srgbClr val="002856"/>
      </a:dk2>
      <a:lt2>
        <a:srgbClr val="FFFFFF"/>
      </a:lt2>
      <a:accent1>
        <a:srgbClr val="002856"/>
      </a:accent1>
      <a:accent2>
        <a:srgbClr val="6F7878"/>
      </a:accent2>
      <a:accent3>
        <a:srgbClr val="979D9D"/>
      </a:accent3>
      <a:accent4>
        <a:srgbClr val="009AD7"/>
      </a:accent4>
      <a:accent5>
        <a:srgbClr val="FF540A"/>
      </a:accent5>
      <a:accent6>
        <a:srgbClr val="FEC10D"/>
      </a:accent6>
      <a:hlink>
        <a:srgbClr val="0052D6"/>
      </a:hlink>
      <a:folHlink>
        <a:srgbClr val="0045B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>
          <a:solidFill>
            <a:srgbClr val="6F7878"/>
          </a:solidFill>
          <a:prstDash val="solid"/>
          <a:round/>
          <a:headEnd type="none" w="lg" len="med"/>
          <a:tailEnd type="none" w="lg" len="med"/>
        </a:ln>
      </a:spPr>
      <a:bodyPr/>
      <a:lstStyle/>
    </a:lnDef>
    <a:txDef>
      <a:spPr>
        <a:noFill/>
      </a:spPr>
      <a:bodyPr wrap="none" lIns="0" rIns="0" rtlCol="0">
        <a:spAutoFit/>
      </a:bodyPr>
      <a:lstStyle>
        <a:defPPr algn="l">
          <a:spcBef>
            <a:spcPts val="600"/>
          </a:spcBef>
          <a:defRPr dirty="0" smtClean="0"/>
        </a:defPPr>
      </a:lstStyle>
    </a:txDef>
  </a:objectDefaults>
  <a:extraClrSchemeLst/>
  <a:custClrLst>
    <a:custClr name="GBlue">
      <a:srgbClr val="002856"/>
    </a:custClr>
    <a:custClr name="Sky">
      <a:srgbClr val="009AD7"/>
    </a:custClr>
    <a:custClr name="Surf">
      <a:srgbClr val="06C4B0"/>
    </a:custClr>
    <a:custClr name="Tangerine">
      <a:srgbClr val="FF540A"/>
    </a:custClr>
    <a:custClr name="Lemon">
      <a:srgbClr val="FEC10D"/>
    </a:custClr>
    <a:custClr name="Rose">
      <a:srgbClr val="E81159"/>
    </a:custClr>
    <a:custClr name="White">
      <a:srgbClr val="FFFFFF"/>
    </a:custClr>
    <a:custClr name="Steel">
      <a:srgbClr val="6F7878"/>
    </a:custClr>
    <a:custClr name="Black">
      <a:srgbClr val="000000"/>
    </a:custClr>
    <a:custClr name="Error Red">
      <a:srgbClr val="DE0A01"/>
    </a:custClr>
    <a:custClr name="GBlue Tint1">
      <a:srgbClr val="6A80A3"/>
    </a:custClr>
    <a:custClr name="Sky Tint1">
      <a:srgbClr val="49C5F4"/>
    </a:custClr>
    <a:custClr name="Surf Tint1">
      <a:srgbClr val="4EDCCA"/>
    </a:custClr>
    <a:custClr name="Tangerine Tint1">
      <a:srgbClr val="FF986C"/>
    </a:custClr>
    <a:custClr name="Lemon Tint1">
      <a:srgbClr val="FEDA6E"/>
    </a:custClr>
    <a:custClr name="Rose Tint1">
      <a:srgbClr val="F4729D"/>
    </a:custClr>
    <a:custClr name="White">
      <a:srgbClr val="FFFFFF"/>
    </a:custClr>
    <a:custClr name="Steel Tint1">
      <a:srgbClr val="979D9D"/>
    </a:custClr>
    <a:custClr name="White">
      <a:srgbClr val="FFFFFF"/>
    </a:custClr>
    <a:custClr name="Warning Yellow">
      <a:srgbClr val="F5AB23"/>
    </a:custClr>
    <a:custClr name="GBlue Tint2">
      <a:srgbClr val="A1B3CA"/>
    </a:custClr>
    <a:custClr name="Sky Tint2">
      <a:srgbClr val="91DCF8"/>
    </a:custClr>
    <a:custClr name="Surf Tint2">
      <a:srgbClr val="95EADF"/>
    </a:custClr>
    <a:custClr name="Tangerine Tint2">
      <a:srgbClr val="FBC9A6"/>
    </a:custClr>
    <a:custClr name="Lemon Tint2">
      <a:srgbClr val="FFEDB3"/>
    </a:custClr>
    <a:custClr name="Rose Tint2">
      <a:srgbClr val="F9C1D2"/>
    </a:custClr>
    <a:custClr name="White">
      <a:srgbClr val="FFFFFF"/>
    </a:custClr>
    <a:custClr name="Steel Tint2">
      <a:srgbClr val="BDBDBD"/>
    </a:custClr>
    <a:custClr name="White">
      <a:srgbClr val="FFFFFF"/>
    </a:custClr>
    <a:custClr name="Success Green">
      <a:srgbClr val="00A76D"/>
    </a:custClr>
    <a:custClr name="GBlue Tint3">
      <a:srgbClr val="D0DEEA"/>
    </a:custClr>
    <a:custClr name="Sky Dark1">
      <a:srgbClr val="0073A1"/>
    </a:custClr>
    <a:custClr name="Surf Dark1">
      <a:srgbClr val="048D7F"/>
    </a:custClr>
    <a:custClr name="Tangerine Dark1">
      <a:srgbClr val="BF3F07"/>
    </a:custClr>
    <a:custClr name="Lemon Dark1">
      <a:srgbClr val="BE910A"/>
    </a:custClr>
    <a:custClr name="Rose Dark1">
      <a:srgbClr val="AE0D43"/>
    </a:custClr>
    <a:custClr name="White">
      <a:srgbClr val="FFFFFF"/>
    </a:custClr>
    <a:custClr name="Steel Tint3">
      <a:srgbClr val="D3D3D3"/>
    </a:custClr>
    <a:custClr name="White">
      <a:srgbClr val="FFFFFF"/>
    </a:custClr>
    <a:custClr name="Background Gray">
      <a:srgbClr val="F4F4F4"/>
    </a:custClr>
    <a:custClr name="GBlue Dark1">
      <a:srgbClr val="355578"/>
    </a:custClr>
    <a:custClr name="Sky Dark2">
      <a:srgbClr val="004D6B"/>
    </a:custClr>
    <a:custClr name="Surf Dark2">
      <a:srgbClr val="036258"/>
    </a:custClr>
    <a:custClr name="Tangerine Dark2">
      <a:srgbClr val="7F2A05"/>
    </a:custClr>
    <a:custClr name="Lemon Dark2">
      <a:srgbClr val="7F6006"/>
    </a:custClr>
    <a:custClr name="Rose Dark2">
      <a:srgbClr val="74082C"/>
    </a:custClr>
    <a:custClr name="White">
      <a:srgbClr val="FFFFFF"/>
    </a:custClr>
    <a:custClr name="Steel Dark">
      <a:srgbClr val="535A5A"/>
    </a:custClr>
    <a:custClr name="White">
      <a:srgbClr val="FFFFFF"/>
    </a:custClr>
    <a:custClr name="Link Blue">
      <a:srgbClr val="0052D6"/>
    </a:custClr>
  </a:custClrLst>
  <a:extLst>
    <a:ext uri="{05A4C25C-085E-4340-85A3-A5531E510DB2}">
      <thm15:themeFamily xmlns:thm15="http://schemas.microsoft.com/office/thememl/2012/main" name="Gartner_Corporate_PPT_Template_16x9.potx" id="{32B46400-CF51-4A33-BE93-032EBD09209C}" vid="{AB8827A0-F702-4494-B1D3-4B40365FEC60}"/>
    </a:ext>
  </a:extLst>
</a:theme>
</file>

<file path=ppt/theme/theme2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3.xml><?xml version="1.0" encoding="utf-8"?>
<a:theme xmlns:a="http://schemas.openxmlformats.org/drawingml/2006/main" name="Office Theme">
  <a:themeElements>
    <a:clrScheme name="RTX Colors">
      <a:dk1>
        <a:sysClr val="windowText" lastClr="000000"/>
      </a:dk1>
      <a:lt1>
        <a:sysClr val="window" lastClr="FFFFFF"/>
      </a:lt1>
      <a:dk2>
        <a:srgbClr val="CE1126"/>
      </a:dk2>
      <a:lt2>
        <a:srgbClr val="FFFFFF"/>
      </a:lt2>
      <a:accent1>
        <a:srgbClr val="000000"/>
      </a:accent1>
      <a:accent2>
        <a:srgbClr val="464648"/>
      </a:accent2>
      <a:accent3>
        <a:srgbClr val="6B6B6D"/>
      </a:accent3>
      <a:accent4>
        <a:srgbClr val="89898A"/>
      </a:accent4>
      <a:accent5>
        <a:srgbClr val="B8B8B9"/>
      </a:accent5>
      <a:accent6>
        <a:srgbClr val="D4D4D5"/>
      </a:accent6>
      <a:hlink>
        <a:srgbClr val="CE1126"/>
      </a:hlink>
      <a:folHlink>
        <a:srgbClr val="000000"/>
      </a:folHlink>
    </a:clrScheme>
    <a:fontScheme name="RTX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RTX Colors">
      <a:dk1>
        <a:sysClr val="windowText" lastClr="000000"/>
      </a:dk1>
      <a:lt1>
        <a:sysClr val="window" lastClr="FFFFFF"/>
      </a:lt1>
      <a:dk2>
        <a:srgbClr val="CE1126"/>
      </a:dk2>
      <a:lt2>
        <a:srgbClr val="FFFFFF"/>
      </a:lt2>
      <a:accent1>
        <a:srgbClr val="000000"/>
      </a:accent1>
      <a:accent2>
        <a:srgbClr val="464648"/>
      </a:accent2>
      <a:accent3>
        <a:srgbClr val="6B6B6D"/>
      </a:accent3>
      <a:accent4>
        <a:srgbClr val="89898A"/>
      </a:accent4>
      <a:accent5>
        <a:srgbClr val="B8B8B9"/>
      </a:accent5>
      <a:accent6>
        <a:srgbClr val="D4D4D5"/>
      </a:accent6>
      <a:hlink>
        <a:srgbClr val="CE1126"/>
      </a:hlink>
      <a:folHlink>
        <a:srgbClr val="000000"/>
      </a:folHlink>
    </a:clrScheme>
    <a:fontScheme name="RTX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sisl xmlns:xsi="http://www.w3.org/2001/XMLSchema-instance" xmlns:xsd="http://www.w3.org/2001/XMLSchema" xmlns="http://www.boldonjames.com/2008/01/sie/internal/label" sislVersion="0" policy="cde53ac1-bf5f-4aae-9cf1-07509e23a4b0" origin="defaultValue">
  <element uid="bba94c65-ac3d-4f34-b2e1-8de11ef6f01c" value=""/>
</sisl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GU1M2FjMS1iZjVmLTRhYWUtOWNmMS0wNzUwOWUyM2E0YjAiIG9yaWdpbj0iZGVmYXVsdFZhbHVlIj48ZWxlbWVudCB1aWQ9ImJiYTk0YzY1LWFjM2QtNGYzNC1iMmUxLThkZTExZWY2ZjAxYyIgdmFsdWU9IiIgeG1sbnM9Imh0dHA6Ly93d3cuYm9sZG9uamFtZXMuY29tLzIwMDgvMDEvc2llL2ludGVybmFsL2xhYmVsIiAvPjwvc2lzbD48VXNlck5hbWU+VVNcbnJwMDI0MTU4MjwvVXNlck5hbWU+PERhdGVUaW1lPjIvMTIvMjAyMCAyOjQ5OjE3IFBNPC9EYXRlVGltZT48TGFiZWxTdHJpbmc+T3JpZ2luIEp1cmlzZGljdGlvbjogVVMgPC9MYWJlbFN0cmluZz48L2l0ZW0+PGl0ZW0+PHNpc2wgc2lzbFZlcnNpb249IjAiIHBvbGljeT0iY2RlNTNhYzEtYmY1Zi00YWFlLTljZjEtMDc1MDllMjNhNGIwIiBvcmlnaW49InVzZXJTZWxlY3RlZCI+PGVsZW1lbnQgdWlkPSJiYmE5NGM2NS1hYzNkLTRmMzQtYjJlMS04ZGUxMWVmNmYwMWMiIHZhbHVlPSIiIHhtbG5zPSJodHRwOi8vd3d3LmJvbGRvbmphbWVzLmNvbS8yMDA4LzAxL3NpZS9pbnRlcm5hbC9sYWJlbCIgLz48ZWxlbWVudCB1aWQ9IjU5OGNmYzI4LTVkZmQtNGYwNi04YzAxLWM3NTg4ZmQzOTRmMCIgdmFsdWU9IiIgeG1sbnM9Imh0dHA6Ly93d3cuYm9sZG9uamFtZXMuY29tLzIwMDgvMDEvc2llL2ludGVybmFsL2xhYmVsIiAvPjxlbGVtZW50IHVpZD0iYWFmYzlhOTUtZWU1ZC00ODdjLTljNGUtNjdhNTM4MGYyOTkxIiB2YWx1ZT0iIiB4bWxucz0iaHR0cDovL3d3dy5ib2xkb25qYW1lcy5jb20vMjAwOC8wMS9zaWUvaW50ZXJuYWwvbGFiZWwiIC8+PGVsZW1lbnQgdWlkPSJkNzU5Y2Q3YS1iNTdjLTQyZTQtOWE0OS05YjgyYTIzMzc1NzkiIHZhbHVlPSIiIHhtbG5zPSJodHRwOi8vd3d3LmJvbGRvbmphbWVzLmNvbS8yMDA4LzAxL3NpZS9pbnRlcm5hbC9sYWJlbCIgLz48ZWxlbWVudCB1aWQ9ImMyMDZkNWZhLWFlZTEtNGY2NC04OWQ5LWY4MWU0ZDdiM2FjYyIgdmFsdWU9IiIgeG1sbnM9Imh0dHA6Ly93d3cuYm9sZG9uamFtZXMuY29tLzIwMDgvMDEvc2llL2ludGVybmFsL2xhYmVsIiAvPjwvc2lzbD48VXNlck5hbWU+VVNcbnJwMDI0MTU4MjwvVXNlck5hbWU+PERhdGVUaW1lPjIvMTIvMjAyMCAzOjAzOjA5IFBNPC9EYXRlVGltZT48TGFiZWxTdHJpbmc+T3JpZ2luIEp1cmlzZGljdGlvbjogVVMgIHwgUmF5dGhlb24gQ29tcGV0aXRpb24gU2Vuc2l0aXZlIHwgUGVyIEN1cnJlbnQgUmF5dGhlb24gUG9saWN5IChSUC1PR0MtMDM1KSB8IE5vbi1FeHBvcnQgQ29udHJvbGxlZCBUZWNobmljYWwgSW5mb3JtYXRpb24gKEVYSU0gRGV0ZXJtaW5lZCBPbmx5KSB8IFBlciBDdXJyZW50IFJheXRoZW9uIFBvbGljeSAoUEktT0dDLUdUQy01MDA0KTwvTGFiZWxTdHJpbmc+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+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2FlMTFhNmItMjFiMS00OWQ4LTk5ZDgtZWQzMDY4NTEzODRhIiB2YWx1ZT0iIiB4bWxucz0iaHR0cDovL3d3dy5ib2xkb25qYW1lcy5jb20vMjAwOC8wMS9zaWUvaW50ZXJuYWwvbGFiZWwiIC8+PGVsZW1lbnQgdWlkPSJjMjA2ZDVmYS1hZWUxLTRmNjQtODlkOS1mODFlNGQ3YjNhY2MiIHZhbHVlPSIiIHhtbG5zPSJodHRwOi8vd3d3LmJvbGRvbmphbWVzLmNvbS8yMDA4LzAxL3NpZS9pbnRlcm5hbC9sYWJlbCIgLz48L3Npc2w+PFVzZXJOYW1lPlVTXG5ycDAyNDE1ODI8L1VzZXJOYW1lPjxEYXRlVGltZT4yLzEyLzIwMjAgMzoyODo1NyBQTTwvRGF0ZVRpbWU+PExhYmVsU3RyaW5nPk9yaWdpbiBKdXJpc2RpY3Rpb246IFVTICB8IFJheXRoZW9uIFByb3ByaWV0YXJ5IHwgUGVyIEN1cnJlbnQgUmF5dGhlb24gUG9saWN5IChSUC1PR0MtMDM1KSB8IFVTLUlUQVIgQ29udHJvbGxlZCB8IFBlciBDdXJyZW50IFJheXRoZW9uIFBvbGljeSAoUEktT0dDLUdUQy01MDA0KTwvTGFiZWxTdHJpbmc+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+PGVsZW1lbnQgdWlkPSIwMTJlYjIyYy03NmNhLTRlNGYtOGFiOS1mYWJiMDU0YWUx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+PGVsZW1lbnQgdWlkPSI5MmU5OTNhMy1hZjMyLTRhZmItYWExOS0zYTQ5Y2RiODJjN2EiIHZhbHVlPSIiIHhtbG5zPSJodHRwOi8vd3d3LmJvbGRvbmphbWVzLmNvbS8yMDA4LzAxL3NpZS9pbnRlcm5hbC9sYWJlbCIgLz48L3Npc2w+PFVzZXJOYW1lPlVTXG5ycDAyNDE1ODI8L1VzZXJOYW1lPjxEYXRlVGltZT4yLzE0LzIwMjAgNDo0Mjo0NCBQTTwvRGF0ZVRpbWU+PExhYmVsU3RyaW5nPk9yaWdpbiBKdXJpc2RpY3Rpb246IFVTICB8IFJheXRoZW9uIE1vc3QgUHJpdmF0ZSB8IFBlciBDdXJyZW50IFJheXRoZW9uIFBvbGljeSAoUlAtT0dDLTAzNSkgfCBPdGhlciBJbmZvcm1hdGlvbiAoTm90IFJlcXVpcmluZyBhbiBFeHBvcnQgQ29udHJvbCBNYXJraW5nKSB8IE5vIG1hcmtpbmcgYXBwbGllZCBieSB0aGUgdG9vbDwvTGFiZWxTdHJpbmc+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+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ZmI5OTEzMDgtYTNkZS00MGE4LTk2N2ItMDkyMjMzNDI0MWJhIiB2YWx1ZT0iIiB4bWxucz0iaHR0cDovL3d3dy5ib2xkb25qYW1lcy5jb20vMjAwOC8wMS9zaWUvaW50ZXJuYWwvbGFiZWwiIC8+PGVsZW1lbnQgdWlkPSJjMjA2ZDVmYS1hZWUxLTRmNjQtODlkOS1mODFlNGQ3YjNhY2MiIHZhbHVlPSIiIHhtbG5zPSJodHRwOi8vd3d3LmJvbGRvbmphbWVzLmNvbS8yMDA4LzAxL3NpZS9pbnRlcm5hbC9sYWJlbCIgLz48L3Npc2w+PFVzZXJOYW1lPlVTXG5ycDAyNDE1ODI8L1VzZXJOYW1lPjxEYXRlVGltZT4yLzE0LzIwMjAgNjoyOTozNCBQTTwvRGF0ZVRpbWU+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YWNmOWVjYzMtMGY0NS00MjM0LWE5MGQtZTQzNjhmYWNkOTgxIiB2YWx1ZT0iIiB4bWxucz0iaHR0cDovL3d3dy5ib2xkb25qYW1lcy5jb20vMjAwOC8wMS9zaWUvaW50ZXJuYWwvbGFiZWwiIC8+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+PC9zaXNsPjxVc2VyTmFtZT5VU1xucnAwMjQxNTgyPC9Vc2VyTmFtZT48RGF0ZVRpbWU+Mi8xNy8yMDIwIDg6Mjg6MzE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+PGl0ZW0+PHNpc2wgc2lzbFZlcnNpb249IjAiIHBvbGljeT0iY2RlNTNhYzEtYmY1Zi00YWFlLTljZjEtMDc1MDllMjNhNGIwIiBvcmlnaW49InVzZXJTZWxlY3RlZCI+PGVsZW1lbnQgdWlkPSJiYmE5NGM2NS1hYzNkLTRmMzQtYjJlMS04ZGUxMWVmNmYwMWMiIHZhbHVlPSIiIHhtbG5zPSJodHRwOi8vd3d3LmJvbGRvbmphbWVzLmNvbS8yMDA4LzAxL3NpZS9pbnRlcm5hbC9sYWJlbCIgLz48ZWxlbWVudCB1aWQ9Ijk5N2E3MTZlLWMwM2YtNDNiMS1hNWIwLWQ2Y2QwNGU5YmE0MCIgdmFsdWU9IiIgeG1sbnM9Imh0dHA6Ly93d3cuYm9sZG9uamFtZXMuY29tLzIwMDgvMDEvc2llL2ludGVybmFsL2xhYmVsIiAvPjxlbGVtZW50IHVpZD0iYWFmYzlhOTUtZWU1ZC00ODdjLTljNGUtNjdhNTM4MGYyOTkxIiB2YWx1ZT0iIiB4bWxucz0iaHR0cDovL3d3dy5ib2xkb25qYW1lcy5jb20vMjAwOC8wMS9zaWUvaW50ZXJuYWwvbGFiZWwiIC8+PGVsZW1lbnQgdWlkPSJiYzJiN2MwMS02ZGIxLTRlN2QtODhkMS1mYzYxNjc0Zjg2ZmQiIHZhbHVlPSIiIHhtbG5zPSJodHRwOi8vd3d3LmJvbGRvbmphbWVzLmNvbS8yMDA4LzAxL3NpZS9pbnRlcm5hbC9sYWJlbCIgLz48ZWxlbWVudCB1aWQ9IjkyZTk5M2EzLWFmMzItNGFmYi1hYTE5LTNhNDljZGI4MmM3YSIgdmFsdWU9IiIgeG1sbnM9Imh0dHA6Ly93d3cuYm9sZG9uamFtZXMuY29tLzIwMDgvMDEvc2llL2ludGVybmFsL2xhYmVsIiAvPjwvc2lzbD48VXNlck5hbWU+VVNcbnJwMDI0MTU4MjwvVXNlck5hbWU+PERhdGVUaW1lPjIvMTgvMjAyMCA0OjU4OjI4IFBNPC9EYXRlVGltZT48TGFiZWxTdHJpbmc+T3JpZ2luIEp1cmlzZGljdGlvbjogVVMgIHwgUmF5dGhlb24gUHJvcHJpZXRhcn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MDEyZWIyMmMtNzZjYS00ZTRmLThhYjktZmFiYjA1NGFlMTQwIiB2YWx1ZT0iIiB4bWxucz0iaHR0cDovL3d3dy5ib2xkb25qYW1lcy5jb20vMjAwOC8wMS9zaWUvaW50ZXJuYWwvbGFiZWwiIC8+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+PC9zaXNsPjxVc2VyTmFtZT5VU1xucnAwMjQxNTgyPC9Vc2VyTmFtZT48RGF0ZVRpbWU+Mi8xOC8yMDIwIDU6MDA6MTYgUE08L0RhdGVUaW1lPjxMYWJlbFN0cmluZz5PcmlnaW4gSnVyaXNkaWN0aW9uOiBVUyAgfCBSYXl0aGVvbiBNb3N0IFByaXZhdGUgfCBQZXIgQ3VycmVudCBSYXl0aGVvbiBQb2xpY3kgKFJQLU9HQy0wMzUpIHwgVVMtRXhwb3J0IENvbnRyb2xsZWQgSnVyaXNkaWN0aW9uIFVuZGV0ZXJtaW5lZCB8IFBlciBDdXJyZW50IFJheXRoZW9uIFBvbGljeSAoUEktT0dDLUdUQy01MDA0KTwvTGFiZWxTdHJpbmc+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+PGVsZW1lbnQgdWlkPSJhY2Y5ZWNjMy0wZjQ1LTQyMzQtYTkwZC1lNDM2OGZhY2Q5ODE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+PGVsZW1lbnQgdWlkPSI5MmU5OTNhMy1hZjMyLTRhZmItYWExOS0zYTQ5Y2RiODJjN2EiIHZhbHVlPSIiIHhtbG5zPSJodHRwOi8vd3d3LmJvbGRvbmphbWVzLmNvbS8yMDA4LzAxL3NpZS9pbnRlcm5hbC9sYWJlbCIgLz48L3Npc2w+PFVzZXJOYW1lPlVTXG5ycDAyNDE1ODI8L1VzZXJOYW1lPjxEYXRlVGltZT4zLzcvMjAyMCA4OjIzOjM2IFBNPC9EYXRlVGltZT48TGFiZWxTdHJpbmc+T3JpZ2luIEp1cmlzZGljdGlvbjogVVMgIHwgSW50ZXJuYWwgVXNlIE9ubH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OTk3YTcxNmUtYzAzZi00M2IxLWE1YjAtZDZjZDA0ZTliYTQwIiB2YWx1ZT0iIiB4bWxucz0iaHR0cDovL3d3dy5ib2xkb25qYW1lcy5jb20vMjAwOC8wMS9zaWUvaW50ZXJuYWwvbGFiZWwiIC8+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+PC9zaXNsPjxVc2VyTmFtZT5VU1xucnAwMjQxNTgyPC9Vc2VyTmFtZT48RGF0ZVRpbWU+My83LzIwMjAgODoyNDo0OSBQTTwvRGF0ZVRpbWU+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ZmI5OTEzMDgtYTNkZS00MGE4LTk2N2ItMDkyMjMzNDI0MWJhIiB2YWx1ZT0iIiB4bWxucz0iaHR0cDovL3d3dy5ib2xkb25qYW1lcy5jb20vMjAwOC8wMS9zaWUvaW50ZXJuYWwvbGFiZWwiIC8+PGVsZW1lbnQgdWlkPSJjMjA2ZDVmYS1hZWUxLTRmNjQtODlkOS1mODFlNGQ3YjNhY2MiIHZhbHVlPSIiIHhtbG5zPSJodHRwOi8vd3d3LmJvbGRvbmphbWVzLmNvbS8yMDA4LzAxL3NpZS9pbnRlcm5hbC9sYWJlbCIgLz48ZWxlbWVudCB1aWQ9ImFjZjllY2MzLTBmNDUtNDIzNC1hOTBkLWU0MzY4ZmFjZDk4MSIgdmFsdWU9IiIgeG1sbnM9Imh0dHA6Ly93d3cuYm9sZG9uamFtZXMuY29tLzIwMDgvMDEvc2llL2ludGVybmFsL2xhYmVsIiAvPjxlbGVtZW50IHVpZD0iYWFmYzlhOTUtZWU1ZC00ODdjLTljNGUtNjdhNTM4MGYyOTkxIiB2YWx1ZT0iIiB4bWxucz0iaHR0cDovL3d3dy5ib2xkb25qYW1lcy5jb20vMjAwOC8wMS9zaWUvaW50ZXJuYWwvbGFiZWwiIC8+PC9zaXNsPjxVc2VyTmFtZT5VU1wxMTAzMDg1PC9Vc2VyTmFtZT48RGF0ZVRpbWU+My8xMi8yMDIwIDY6MjM6MjM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+PGl0ZW0+PHNpc2wgc2lzbFZlcnNpb249IjAiIHBvbGljeT0iY2RlNTNhYzEtYmY1Zi00YWFlLTljZjEtMDc1MDllMjNhNGIwIiBvcmlnaW49InVzZXJTZWxlY3RlZCIgLz48VXNlck5hbWU+VVNcMTEwMzA4NTwvVXNlck5hbWU+PERhdGVUaW1lPjMvMTMvMjAyMCAxMDowMjo0NCBQTTwvRGF0ZVRpbWU+PExhYmVsU3RyaW5nPlRoaXMgYXJ0aWZhY3QgaGFzIG5vIGNsYXNzaWZpY2F0aW9uLjwvTGFiZWxTdHJpbmc+PC9pdGVtPjxpdGVtPjxzaXNsIHNpc2xWZXJzaW9uPSIwIiBwb2xpY3k9ImNkZTUzYWMxLWJmNWYtNGFhZS05Y2YxLTA3NTA5ZTIzYTRiMCIgb3JpZ2luPSJ1c2VyU2VsZWN0ZWQiPjxlbGVtZW50IHVpZD0iMTVmZWZhMWMtYWY2Ny00ZWJmLWE3MWQtZjAxNjIxMTY4OTYyIiB2YWx1ZT0iIiB4bWxucz0iaHR0cDovL3d3dy5ib2xkb25qYW1lcy5jb20vMjAwOC8wMS9zaWUvaW50ZXJuYWwvbGFiZWwiIC8+PGVsZW1lbnQgdWlkPSJhYWZjOWE5NS1lZTVkLTQ4N2MtOWM0ZS02N2E1MzgwZjI5OTEiIHZhbHVlPSIiIHhtbG5zPSJodHRwOi8vd3d3LmJvbGRvbmphbWVzLmNvbS8yMDA4LzAxL3NpZS9pbnRlcm5hbC9sYWJlbCIgLz48ZWxlbWVudCB1aWQ9ImJiYTk0YzY1LWFjM2QtNGYzNC1iMmUxLThkZTExZWY2ZjAxYyIgdmFsdWU9IiIgeG1sbnM9Imh0dHA6Ly93d3cuYm9sZG9uamFtZXMuY29tLzIwMDgvMDEvc2llL2ludGVybmFsL2xhYmVsIiAvPjxlbGVtZW50IHVpZD0iYmMyYjdjMDEtNmRiMS00ZTdkLTg4ZDEtZmM2MTY3NGY4NmZkIiB2YWx1ZT0iIiB4bWxucz0iaHR0cDovL3d3dy5ib2xkb25qYW1lcy5jb20vMjAwOC8wMS9zaWUvaW50ZXJuYWwvbGFiZWwiIC8+PGVsZW1lbnQgdWlkPSI5MmU5OTNhMy1hZjMyLTRhZmItYWExOS0zYTQ5Y2RiODJjN2EiIHZhbHVlPSIiIHhtbG5zPSJodHRwOi8vd3d3LmJvbGRvbmphbWVzLmNvbS8yMDA4LzAxL3NpZS9pbnRlcm5hbC9sYWJlbCIgLz48L3Npc2w+PFVzZXJOYW1lPlVTXDExMDMwODU8L1VzZXJOYW1lPjxEYXRlVGltZT4zLzEzLzIwMjAgMTA6MDU6NDQgUE08L0RhdGVUaW1lPjxMYWJlbFN0cmluZz5PcmlnaW4gSnVyaXNkaWN0aW9uOiBVUyAgfCBUaGlyZCBQYXJ0eSBQcm9wcmlldGFyeSAtIE5lZWQgdG8gS25vdyB8IFBlciBDdXJyZW50IFJheXRoZW9uIFBvbGljeSAoUlAtT0dDLTAzNSkgfCBPdGhlciBJbmZvcm1hdGlvbiAoTm90IFJlcXVpcmluZyBhbiBFeHBvcnQgQ29udHJvbCBNYXJraW5nKSB8IE5vIG1hcmtpbmcgYXBwbGllZCBieSB0aGUgdG9vbDwvTGFiZWxTdHJpbmc+PC9pdGVtPjxpdGVtPjxzaXNsIHNpc2xWZXJzaW9uPSIwIiBwb2xpY3k9ImNkZTUzYWMxLWJmNWYtNGFhZS05Y2YxLTA3NTA5ZTIzYTRiMCIgb3JpZ2luPSJ1c2VyU2VsZWN0ZWQiIC8+PFVzZXJOYW1lPlVTXG5ycDAyNDE1ODI8L1VzZXJOYW1lPjxEYXRlVGltZT4zLzMwLzIwMjAgMTo1MzoxNyBQTTwvRGF0ZVRpbWU+PExhYmVsU3RyaW5nPlRoaXMgYXJ0aWZhY3QgaGFzIG5vIGNsYXNzaWZpY2F0aW9uLjwvTGFiZWxTdHJpbmc+PC9pdGVtPjxpdGVtPjxzaXNsIHNpc2xWZXJzaW9uPSIwIiBwb2xpY3k9ImNkZTUzYWMxLWJmNWYtNGFhZS05Y2YxLTA3NTA5ZTIzYTRiMCIgb3JpZ2luPSJ1c2VyU2VsZWN0ZWQiPjxlbGVtZW50IHVpZD0iMTVmZWZhMWMtYWY2Ny00ZWJmLWE3MWQtZjAxNjIxMTY4OTYyIiB2YWx1ZT0iIiB4bWxucz0iaHR0cDovL3d3dy5ib2xkb25qYW1lcy5jb20vMjAwOC8wMS9zaWUvaW50ZXJuYWwvbGFiZWwiIC8+PGVsZW1lbnQgdWlkPSJhMDZkYTRkYS1hMjYzLTQxMzYtYjRmZC1mMjhhMTdkMzAxODgiIHZhbHVlPSIiIHhtbG5zPSJodHRwOi8vd3d3LmJvbGRvbmphbWVzLmNvbS8yMDA4LzAxL3NpZS9pbnRlcm5hbC9sYWJlbCIgLz48ZWxlbWVudCB1aWQ9ImJiYTk0YzY1LWFjM2QtNGYzNC1iMmUxLThkZTExZWY2ZjAxYyIgdmFsdWU9IiIgeG1sbnM9Imh0dHA6Ly93d3cuYm9sZG9uamFtZXMuY29tLzIwMDgvMDEvc2llL2ludGVybmFsL2xhYmVsIiAvPjxlbGVtZW50IHVpZD0iYmMyYjdjMDEtNmRiMS00ZTdkLTg4ZDEtZmM2MTY3NGY4NmZkIiB2YWx1ZT0iIiB4bWxucz0iaHR0cDovL3d3dy5ib2xkb25qYW1lcy5jb20vMjAwOC8wMS9zaWUvaW50ZXJuYWwvbGFiZWwiIC8+PGVsZW1lbnQgdWlkPSI5MmU5OTNhMy1hZjMyLTRhZmItYWExOS0zYTQ5Y2RiODJjN2EiIHZhbHVlPSIiIHhtbG5zPSJodHRwOi8vd3d3LmJvbGRvbmphbWVzLmNvbS8yMDA4LzAxL3NpZS9pbnRlcm5hbC9sYWJlbCIgLz48L3Npc2w+PFVzZXJOYW1lPlVTXG5ycDAyNDE1ODI8L1VzZXJOYW1lPjxEYXRlVGltZT40LzIvMjAyMCAzOjQ5OjE3IFBNPC9EYXRlVGltZT48TGFiZWxTdHJpbmc+T3JpZ2luIEp1cmlzZGljdGlvbjogVVMgIHwgVGhpcmQgUGFydHkgUHJvcHJpZXRhcnkgLSBOZWVkIHRvIEtub3cgfCBVc2UgUHJlZXhpc3RpbmcgTWFya2luZyAobm90IGFwcGxpZWQgYnkgdGhpcyB0b29sKSB8IE90aGVyIEluZm9ybWF0aW9uIChOb3QgUmVxdWlyaW5nIGFuIEV4cG9ydCBDb250cm9sIE1hcmtpbmcpIHwgTm8gbWFya2luZyBhcHBsaWVkIGJ5IHRoZSB0b29sPC9MYWJlbFN0cmluZz48L2l0ZW0+PGl0ZW0+PHNpc2wgc2lzbFZlcnNpb249IjAiIHBvbGljeT0iY2RlNTNhYzEtYmY1Zi00YWFlLTljZjEtMDc1MDllMjNhNGIwIiBvcmlnaW49InVzZXJTZWxlY3RlZCIgLz48VXNlck5hbWU+VVNcMTEwMzA4NTwvVXNlck5hbWU+PERhdGVUaW1lPjQvMjAvMjAyMCA2OjI2OjU0IFBNPC9EYXRlVGltZT48TGFiZWxTdHJpbmc+VGhpcyBhcnRpZmFjdCBoYXMgbm8gY2xhc3NpZmljYXRpb24uPC9MYWJlbFN0cmluZz48L2l0ZW0+PGl0ZW0+PHNpc2wgc2lzbFZlcnNpb249IjAiIHBvbGljeT0iY2RlNTNhYzEtYmY1Zi00YWFlLTljZjEtMDc1MDllMjNhNGIwIiBvcmlnaW49ImRlZmF1bHRWYWx1ZSI+PGVsZW1lbnQgdWlkPSJiYmE5NGM2NS1hYzNkLTRmMzQtYjJlMS04ZGUxMWVmNmYwMWMiIHZhbHVlPSIiIHhtbG5zPSJodHRwOi8vd3d3LmJvbGRvbmphbWVzLmNvbS8yMDA4LzAxL3NpZS9pbnRlcm5hbC9sYWJlbCIgLz48L3Npc2w+PFVzZXJOYW1lPlVTXG5ycDAyNDE1ODI8L1VzZXJOYW1lPjxEYXRlVGltZT4xMC83LzIwMjAgNDowMjo0NSBQTTwvRGF0ZVRpbWU+PExhYmVsU3RyaW5nPk9yaWdpbiBKdXJpc2RpY3Rpb246IFVTIDwvTGFiZWxTdHJpbmc+PC9pdGVtPjwvbGFiZWxIaXN0b3J5Pg==</Value>
</WrappedLabelHistory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VIOLATION xmlns="9ec1f0ca-fd7a-4940-a043-e8c350901709">FALSE</VIOLATION>
    <_ip_UnifiedCompliancePolicyProperties xmlns="http://schemas.microsoft.com/sharepoint/v3" xsi:nil="true"/>
    <SharedWithUsers xmlns="94d07681-6fe6-494b-8c63-b1b81b2e4d74">
      <UserInfo>
        <DisplayName>Wasi, Abdul                           Export License Required - US Collins</DisplayName>
        <AccountId>100</AccountId>
        <AccountType/>
      </UserInfo>
      <UserInfo>
        <DisplayName>Davis, Amy J                            Collins</DisplayName>
        <AccountId>14</AccountId>
        <AccountType/>
      </UserInfo>
    </SharedWithUsers>
    <lcf76f155ced4ddcb4097134ff3c332f xmlns="9ec1f0ca-fd7a-4940-a043-e8c350901709">
      <Terms xmlns="http://schemas.microsoft.com/office/infopath/2007/PartnerControls"/>
    </lcf76f155ced4ddcb4097134ff3c332f>
    <TaxCatchAll xmlns="94d07681-6fe6-494b-8c63-b1b81b2e4d74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B6855A1CC2DA4E9CB6B82D2809559A" ma:contentTypeVersion="17" ma:contentTypeDescription="Create a new document." ma:contentTypeScope="" ma:versionID="c66774b2a76ea9bcacf80f50cae0a91d">
  <xsd:schema xmlns:xsd="http://www.w3.org/2001/XMLSchema" xmlns:xs="http://www.w3.org/2001/XMLSchema" xmlns:p="http://schemas.microsoft.com/office/2006/metadata/properties" xmlns:ns1="http://schemas.microsoft.com/sharepoint/v3" xmlns:ns2="9ec1f0ca-fd7a-4940-a043-e8c350901709" xmlns:ns3="94d07681-6fe6-494b-8c63-b1b81b2e4d74" targetNamespace="http://schemas.microsoft.com/office/2006/metadata/properties" ma:root="true" ma:fieldsID="9b91fe8d7d89915b70872b7ad25fc4a7" ns1:_="" ns2:_="" ns3:_="">
    <xsd:import namespace="http://schemas.microsoft.com/sharepoint/v3"/>
    <xsd:import namespace="9ec1f0ca-fd7a-4940-a043-e8c350901709"/>
    <xsd:import namespace="94d07681-6fe6-494b-8c63-b1b81b2e4d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VIOLATIO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c1f0ca-fd7a-4940-a043-e8c3509017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VIOLATION" ma:index="10" nillable="true" ma:displayName="VIOLATION" ma:internalName="VIOLATION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5da18db-0dbb-493a-8358-0ebfa2dc99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d07681-6fe6-494b-8c63-b1b81b2e4d7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13f25b8-71ed-4526-97cd-6e1b34d316ca}" ma:internalName="TaxCatchAll" ma:showField="CatchAllData" ma:web="94d07681-6fe6-494b-8c63-b1b81b2e4d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D40033-B827-4A91-B2A5-4D56F6B522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89B1DF-446C-4290-BB79-EA688A1291AC}">
  <ds:schemaRefs>
    <ds:schemaRef ds:uri="http://www.boldonjames.com/2008/01/sie/internal/label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F20A76-F421-4C7E-9FA5-EB9918BB68FF}">
  <ds:schemaRefs>
    <ds:schemaRef ds:uri="http://www.boldonjames.com/2016/02/Classifier/internal/wrappedLabelHistory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8F752222-004F-4F3B-9D93-1B072027EBBA}">
  <ds:schemaRefs>
    <ds:schemaRef ds:uri="9ec1f0ca-fd7a-4940-a043-e8c350901709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94d07681-6fe6-494b-8c63-b1b81b2e4d74"/>
    <ds:schemaRef ds:uri="http://schemas.microsoft.com/sharepoint/v3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25CF49FD-91EF-45B3-98C1-1139991881FA}">
  <ds:schemaRefs>
    <ds:schemaRef ds:uri="94d07681-6fe6-494b-8c63-b1b81b2e4d74"/>
    <ds:schemaRef ds:uri="9ec1f0ca-fd7a-4940-a043-e8c3509017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4447dd6a-a4a1-440b-a6a3-9124ef1ee017}" enabled="1" method="Privileged" siteId="{7a18110d-ef9b-4274-acef-e62ab0fe28e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ollins_New_W</Template>
  <TotalTime>2327</TotalTime>
  <Words>159</Words>
  <Application>Microsoft Macintosh PowerPoint</Application>
  <PresentationFormat>Widescreen</PresentationFormat>
  <Paragraphs>2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Rockwell</vt:lpstr>
      <vt:lpstr>Rockwell Condensed</vt:lpstr>
      <vt:lpstr>Rockwell Extra Bold</vt:lpstr>
      <vt:lpstr>Wingdings</vt:lpstr>
      <vt:lpstr>White bkgrnd master</vt:lpstr>
      <vt:lpstr>Wood Type</vt:lpstr>
      <vt:lpstr>think-cell Slide</vt:lpstr>
      <vt:lpstr>AI Agents Architecture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Agents Architecture</dc:title>
  <dc:subject>AI Agents Architecture</dc:subject>
  <dc:creator>Sha Vadwalas</dc:creator>
  <cp:keywords>AI ML</cp:keywords>
  <dc:description/>
  <cp:lastModifiedBy>lakshmi.fullstackdeveloper@gmail.com</cp:lastModifiedBy>
  <cp:revision>28</cp:revision>
  <cp:lastPrinted>2023-09-16T23:56:01Z</cp:lastPrinted>
  <dcterms:created xsi:type="dcterms:W3CDTF">2022-02-05T00:06:20Z</dcterms:created>
  <dcterms:modified xsi:type="dcterms:W3CDTF">2025-06-22T22:27:0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ASize">
    <vt:lpwstr>W</vt:lpwstr>
  </property>
  <property fmtid="{D5CDD505-2E9C-101B-9397-08002B2CF9AE}" pid="3" name="ContentTypeId">
    <vt:lpwstr>0x010100A7B6855A1CC2DA4E9CB6B82D2809559A</vt:lpwstr>
  </property>
  <property fmtid="{D5CDD505-2E9C-101B-9397-08002B2CF9AE}" pid="4" name="TitusGUID">
    <vt:lpwstr>e96f9355-2df7-40e7-85f4-7aa5ecdbf373</vt:lpwstr>
  </property>
  <property fmtid="{D5CDD505-2E9C-101B-9397-08002B2CF9AE}" pid="5" name="MediaServiceImageTags">
    <vt:lpwstr/>
  </property>
</Properties>
</file>